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>
  <p:sldMasterIdLst>
    <p:sldMasterId id="2147483648" r:id="rId1"/>
    <p:sldMasterId id="2147483660" r:id="rId2"/>
  </p:sldMasterIdLst>
  <p:notesMasterIdLst>
    <p:notesMasterId r:id="rId5"/>
  </p:notesMasterIdLst>
  <p:handoutMasterIdLst>
    <p:handoutMasterId r:id="rId6"/>
  </p:handoutMasterIdLst>
  <p:sldIdLst>
    <p:sldId id="344" r:id="rId3"/>
    <p:sldId id="257" r:id="rId4"/>
  </p:sldIdLst>
  <p:sldSz cx="12192000" cy="6858000"/>
  <p:notesSz cx="6858000" cy="9144000"/>
  <p:custDataLst>
    <p:tags r:id="rId7"/>
  </p:custDataLst>
  <p:defaultTextStyle>
    <a:lvl1pPr>
      <a:defRPr>
        <a:latin typeface="+mj-lt"/>
        <a:ea typeface="+mj-ea"/>
        <a:cs typeface="+mj-cs"/>
        <a:sym typeface="Helvetica Neue"/>
      </a:defRPr>
    </a:lvl1pPr>
    <a:lvl2pPr>
      <a:defRPr>
        <a:latin typeface="+mj-lt"/>
        <a:ea typeface="+mj-ea"/>
        <a:cs typeface="+mj-cs"/>
        <a:sym typeface="Helvetica Neue"/>
      </a:defRPr>
    </a:lvl2pPr>
    <a:lvl3pPr>
      <a:defRPr>
        <a:latin typeface="+mj-lt"/>
        <a:ea typeface="+mj-ea"/>
        <a:cs typeface="+mj-cs"/>
        <a:sym typeface="Helvetica Neue"/>
      </a:defRPr>
    </a:lvl3pPr>
    <a:lvl4pPr>
      <a:defRPr>
        <a:latin typeface="+mj-lt"/>
        <a:ea typeface="+mj-ea"/>
        <a:cs typeface="+mj-cs"/>
        <a:sym typeface="Helvetica Neue"/>
      </a:defRPr>
    </a:lvl4pPr>
    <a:lvl5pPr>
      <a:defRPr>
        <a:latin typeface="+mj-lt"/>
        <a:ea typeface="+mj-ea"/>
        <a:cs typeface="+mj-cs"/>
        <a:sym typeface="Helvetica Neue"/>
      </a:defRPr>
    </a:lvl5pPr>
    <a:lvl6pPr>
      <a:defRPr>
        <a:latin typeface="+mj-lt"/>
        <a:ea typeface="+mj-ea"/>
        <a:cs typeface="+mj-cs"/>
        <a:sym typeface="Helvetica Neue"/>
      </a:defRPr>
    </a:lvl6pPr>
    <a:lvl7pPr>
      <a:defRPr>
        <a:latin typeface="+mj-lt"/>
        <a:ea typeface="+mj-ea"/>
        <a:cs typeface="+mj-cs"/>
        <a:sym typeface="Helvetica Neue"/>
      </a:defRPr>
    </a:lvl7pPr>
    <a:lvl8pPr>
      <a:defRPr>
        <a:latin typeface="+mj-lt"/>
        <a:ea typeface="+mj-ea"/>
        <a:cs typeface="+mj-cs"/>
        <a:sym typeface="Helvetica Neue"/>
      </a:defRPr>
    </a:lvl8pPr>
    <a:lvl9pPr>
      <a:defRPr>
        <a:latin typeface="+mj-lt"/>
        <a:ea typeface="+mj-ea"/>
        <a:cs typeface="+mj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49" userDrawn="1">
          <p15:clr>
            <a:srgbClr val="A4A3A4"/>
          </p15:clr>
        </p15:guide>
        <p15:guide id="2" orient="horz" pos="714" userDrawn="1">
          <p15:clr>
            <a:srgbClr val="A4A3A4"/>
          </p15:clr>
        </p15:guide>
        <p15:guide id="3" pos="257" userDrawn="1">
          <p15:clr>
            <a:srgbClr val="A4A3A4"/>
          </p15:clr>
        </p15:guide>
        <p15:guide id="4" pos="7423" userDrawn="1">
          <p15:clr>
            <a:srgbClr val="A4A3A4"/>
          </p15:clr>
        </p15:guide>
        <p15:guide id="5" orient="horz" pos="4114" userDrawn="1">
          <p15:clr>
            <a:srgbClr val="A4A3A4"/>
          </p15:clr>
        </p15:guide>
        <p15:guide id="6" pos="2525" userDrawn="1">
          <p15:clr>
            <a:srgbClr val="A4A3A4"/>
          </p15:clr>
        </p15:guide>
        <p15:guide id="7" pos="2706" userDrawn="1">
          <p15:clr>
            <a:srgbClr val="A4A3A4"/>
          </p15:clr>
        </p15:guide>
        <p15:guide id="8" pos="5155" userDrawn="1">
          <p15:clr>
            <a:srgbClr val="A4A3A4"/>
          </p15:clr>
        </p15:guide>
        <p15:guide id="9" pos="49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CBAD"/>
    <a:srgbClr val="FF8103"/>
    <a:srgbClr val="7F7F7F"/>
    <a:srgbClr val="A7A7A7"/>
    <a:srgbClr val="989898"/>
    <a:srgbClr val="F5F5F5"/>
    <a:srgbClr val="FF8100"/>
    <a:srgbClr val="ED7D31"/>
    <a:srgbClr val="535353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D0DEEF"/>
          </a:solidFill>
        </a:fill>
      </a:tcStyle>
    </a:wholeTbl>
    <a:band2H>
      <a:tcTxStyle/>
      <a:tcStyle>
        <a:tcBdr/>
        <a:fill>
          <a:solidFill>
            <a:srgbClr val="E9EFF7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5B9BD5"/>
          </a:solidFill>
        </a:fill>
      </a:tcStyle>
    </a:firstCol>
    <a:la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5B9BD5"/>
          </a:solidFill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5B9BD5"/>
          </a:solidFill>
        </a:fill>
      </a:tcStyle>
    </a:firstRow>
  </a:tblStyle>
  <a:tblStyle styleId="{C7B018BB-80A7-4F77-B60F-C8B233D01FF8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A5A5A5"/>
          </a:solidFill>
        </a:fill>
      </a:tcStyle>
    </a:firstCol>
    <a:la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A5A5A5"/>
          </a:solidFill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A5A5A5"/>
          </a:solidFill>
        </a:fill>
      </a:tcStyle>
    </a:firstRow>
  </a:tblStyle>
  <a:tblStyle styleId="{EEE7283C-3CF3-47DC-8721-378D4A62B228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70AD47"/>
          </a:solidFill>
        </a:fill>
      </a:tcStyle>
    </a:firstCol>
    <a:la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70AD47"/>
          </a:solidFill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70AD47"/>
          </a:solidFill>
        </a:fill>
      </a:tcStyle>
    </a:firstRow>
  </a:tblStyle>
  <a:tblStyle styleId="{CF821DB8-F4EB-4A41-A1BA-3FCAFE7338EE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5B9BD5"/>
          </a:solidFill>
        </a:fill>
      </a:tcStyle>
    </a:firstCol>
    <a:lastRow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5B9BD5"/>
          </a:solidFill>
        </a:fill>
      </a:tcStyle>
    </a:firstRow>
  </a:tblStyle>
  <a:tblStyle styleId="{33BA23B1-9221-436E-865A-0063620EA4FD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Col>
    <a:la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Row>
  </a:tblStyle>
  <a:tblStyle styleId="{2708684C-4D16-4618-839F-0558EEFCDFE6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lastRow>
    <a:firstRow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43" autoAdjust="0"/>
    <p:restoredTop sz="93979" autoAdjust="0"/>
  </p:normalViewPr>
  <p:slideViewPr>
    <p:cSldViewPr snapToGrid="0" snapToObjects="1">
      <p:cViewPr varScale="1">
        <p:scale>
          <a:sx n="114" d="100"/>
          <a:sy n="114" d="100"/>
        </p:scale>
        <p:origin x="810" y="102"/>
      </p:cViewPr>
      <p:guideLst>
        <p:guide orient="horz" pos="449"/>
        <p:guide orient="horz" pos="714"/>
        <p:guide pos="257"/>
        <p:guide pos="7423"/>
        <p:guide orient="horz" pos="4114"/>
        <p:guide pos="2525"/>
        <p:guide pos="2706"/>
        <p:guide pos="5155"/>
        <p:guide pos="497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B99E05B7-958E-3C4B-A656-253C334647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F9065164-0273-5B42-BDE0-9F79A123F49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54E052-ADD6-A04D-BDC3-6BC441F6A6B8}" type="datetimeFigureOut">
              <a:rPr lang="ru-RU" smtClean="0"/>
              <a:t>14.02.2020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0311D25-8796-FA4F-95CC-E709D3908D6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ACA8823-7EF4-B743-A9E9-82E6A6EE97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CDA978-07E1-0240-A4FF-F09C54999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34214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1pPr>
    <a:lvl2pPr indent="2286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2pPr>
    <a:lvl3pPr indent="4572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3pPr>
    <a:lvl4pPr indent="6858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4pPr>
    <a:lvl5pPr indent="9144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5pPr>
    <a:lvl6pPr indent="11430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6pPr>
    <a:lvl7pPr indent="13716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7pPr>
    <a:lvl8pPr indent="16002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8pPr>
    <a:lvl9pPr indent="18288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9A37B8-BFB6-427B-9C2C-BAE4642490FC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761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_COVER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826825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4529" y="785106"/>
            <a:ext cx="11369484" cy="3323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2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4083076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70562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8325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835312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441907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262472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90315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78138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32536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031480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774709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83129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338667" y="365126"/>
            <a:ext cx="9798756" cy="64928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Fiv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ransition spd="med"/>
  <p:hf sldNum="0" hdr="0" dt="0"/>
  <p:txStyles>
    <p:titleStyle>
      <a:lvl1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1pPr>
      <a:lvl2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2pPr>
      <a:lvl3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3pPr>
      <a:lvl4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4pPr>
      <a:lvl5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5pPr>
      <a:lvl6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6pPr>
      <a:lvl7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7pPr>
      <a:lvl8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8pPr>
      <a:lvl9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9pPr>
    </p:titleStyle>
    <p:bodyStyle>
      <a:lvl1pPr marL="228600" indent="-2286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1pPr>
      <a:lvl2pPr marL="731519" indent="-274319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2pPr>
      <a:lvl3pPr marL="12192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3pPr>
      <a:lvl4pPr marL="1714500" indent="-3429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4pPr>
      <a:lvl5pPr marL="2220684" indent="-391884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5pPr>
      <a:lvl6pPr marL="25908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6pPr>
      <a:lvl7pPr marL="30480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7pPr>
      <a:lvl8pPr marL="35052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8pPr>
      <a:lvl9pPr marL="39624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9pPr>
    </p:bodyStyle>
    <p:otherStyle>
      <a:lvl1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1pPr>
      <a:lvl2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2pPr>
      <a:lvl3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3pPr>
      <a:lvl4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4pPr>
      <a:lvl5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5pPr>
      <a:lvl6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6pPr>
      <a:lvl7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7pPr>
      <a:lvl8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8pPr>
      <a:lvl9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spcBef>
                <a:spcPts val="0"/>
              </a:spcBef>
              <a:buNone/>
              <a:defRPr sz="1333">
                <a:solidFill>
                  <a:schemeClr val="dk2"/>
                </a:solidFill>
              </a:defRPr>
            </a:lvl1pPr>
            <a:lvl2pPr lvl="1" algn="r">
              <a:spcBef>
                <a:spcPts val="0"/>
              </a:spcBef>
              <a:buNone/>
              <a:defRPr sz="1333">
                <a:solidFill>
                  <a:schemeClr val="dk2"/>
                </a:solidFill>
              </a:defRPr>
            </a:lvl2pPr>
            <a:lvl3pPr lvl="2" algn="r">
              <a:spcBef>
                <a:spcPts val="0"/>
              </a:spcBef>
              <a:buNone/>
              <a:defRPr sz="1333">
                <a:solidFill>
                  <a:schemeClr val="dk2"/>
                </a:solidFill>
              </a:defRPr>
            </a:lvl3pPr>
            <a:lvl4pPr lvl="3" algn="r">
              <a:spcBef>
                <a:spcPts val="0"/>
              </a:spcBef>
              <a:buNone/>
              <a:defRPr sz="1333">
                <a:solidFill>
                  <a:schemeClr val="dk2"/>
                </a:solidFill>
              </a:defRPr>
            </a:lvl4pPr>
            <a:lvl5pPr lvl="4" algn="r">
              <a:spcBef>
                <a:spcPts val="0"/>
              </a:spcBef>
              <a:buNone/>
              <a:defRPr sz="1333">
                <a:solidFill>
                  <a:schemeClr val="dk2"/>
                </a:solidFill>
              </a:defRPr>
            </a:lvl5pPr>
            <a:lvl6pPr lvl="5" algn="r">
              <a:spcBef>
                <a:spcPts val="0"/>
              </a:spcBef>
              <a:buNone/>
              <a:defRPr sz="1333">
                <a:solidFill>
                  <a:schemeClr val="dk2"/>
                </a:solidFill>
              </a:defRPr>
            </a:lvl6pPr>
            <a:lvl7pPr lvl="6" algn="r">
              <a:spcBef>
                <a:spcPts val="0"/>
              </a:spcBef>
              <a:buNone/>
              <a:defRPr sz="1333">
                <a:solidFill>
                  <a:schemeClr val="dk2"/>
                </a:solidFill>
              </a:defRPr>
            </a:lvl7pPr>
            <a:lvl8pPr lvl="7" algn="r">
              <a:spcBef>
                <a:spcPts val="0"/>
              </a:spcBef>
              <a:buNone/>
              <a:defRPr sz="1333">
                <a:solidFill>
                  <a:schemeClr val="dk2"/>
                </a:solidFill>
              </a:defRPr>
            </a:lvl8pPr>
            <a:lvl9pPr lvl="8" algn="r">
              <a:spcBef>
                <a:spcPts val="0"/>
              </a:spcBef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7704097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14529" y="4039293"/>
            <a:ext cx="3295477" cy="3572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sz="40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r>
              <a:rPr lang="ru-RU" sz="40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i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r>
              <a:rPr lang="ru-RU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i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16775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hape 6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/>
              <a:t>x1</a:t>
            </a:r>
            <a:endParaRPr dirty="0"/>
          </a:p>
          <a:p>
            <a:pPr marL="0" lvl="1" indent="0">
              <a:buNone/>
            </a:pPr>
            <a:r>
              <a:rPr lang="en-US" dirty="0" err="1"/>
              <a:t>xxxxxxxxxxxxxxxxxxxxxxxxxxxxxxxxxxx</a:t>
            </a:r>
            <a:endParaRPr dirty="0"/>
          </a:p>
          <a:p>
            <a:pPr marL="609585" lvl="1" indent="-457189">
              <a:buSzPts val="1800"/>
              <a:buChar char="●"/>
            </a:pPr>
            <a:r>
              <a:rPr lang="en-US" dirty="0" err="1"/>
              <a:t>xxxxxxxxxxxxxx</a:t>
            </a:r>
            <a:endParaRPr dirty="0"/>
          </a:p>
          <a:p>
            <a:pPr marL="609585" lvl="1" indent="-457189">
              <a:spcBef>
                <a:spcPts val="0"/>
              </a:spcBef>
              <a:buSzPts val="1800"/>
              <a:buChar char="●"/>
            </a:pPr>
            <a:r>
              <a:rPr lang="en-US" dirty="0" err="1"/>
              <a:t>xxxxxxxxxxxxxx</a:t>
            </a:r>
            <a:endParaRPr dirty="0"/>
          </a:p>
          <a:p>
            <a:pPr marL="0" lvl="1" indent="0">
              <a:spcAft>
                <a:spcPts val="2133"/>
              </a:spcAft>
              <a:buNone/>
            </a:pPr>
            <a:r>
              <a:rPr lang="en-US" dirty="0" err="1"/>
              <a:t>xxxxxxxxxxxxxxxxxxxxxxx</a:t>
            </a:r>
            <a:endParaRPr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25400" cap="flat">
          <a:noFill/>
          <a:prstDash val="solid"/>
          <a:bevel/>
        </a:ln>
        <a:effectLst/>
      </a:spPr>
      <a:bodyPr rot="0" spcFirstLastPara="1" vertOverflow="overflow" horzOverflow="overflow" vert="horz" wrap="square" lIns="45718" tIns="45718" rIns="45718" bIns="45718" numCol="1" spcCol="38100" rtlCol="0" anchor="ctr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5B9BD5"/>
          </a:solidFill>
          <a:prstDash val="solid"/>
          <a:bevel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Default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5B9BD5"/>
          </a:solidFill>
          <a:prstDash val="solid"/>
          <a:bevel/>
        </a:ln>
        <a:effectLst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5B9BD5"/>
          </a:solidFill>
          <a:prstDash val="solid"/>
          <a:bevel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</Words>
  <Application>Microsoft Office PowerPoint</Application>
  <PresentationFormat>Widescreen</PresentationFormat>
  <Paragraphs>7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 Light</vt:lpstr>
      <vt:lpstr>Helvetica Neue</vt:lpstr>
      <vt:lpstr>Default</vt:lpstr>
      <vt:lpstr>Simple Light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modified xsi:type="dcterms:W3CDTF">2020-02-14T20:53:39Z</dcterms:modified>
</cp:coreProperties>
</file>